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34"/>
  </p:notesMasterIdLst>
  <p:handoutMasterIdLst>
    <p:handoutMasterId r:id="rId35"/>
  </p:handoutMasterIdLst>
  <p:sldIdLst>
    <p:sldId id="256" r:id="rId2"/>
    <p:sldId id="321" r:id="rId3"/>
    <p:sldId id="322" r:id="rId4"/>
    <p:sldId id="313" r:id="rId5"/>
    <p:sldId id="312" r:id="rId6"/>
    <p:sldId id="320" r:id="rId7"/>
    <p:sldId id="345" r:id="rId8"/>
    <p:sldId id="319" r:id="rId9"/>
    <p:sldId id="318" r:id="rId10"/>
    <p:sldId id="334" r:id="rId11"/>
    <p:sldId id="324" r:id="rId12"/>
    <p:sldId id="325" r:id="rId13"/>
    <p:sldId id="327" r:id="rId14"/>
    <p:sldId id="326" r:id="rId15"/>
    <p:sldId id="328" r:id="rId16"/>
    <p:sldId id="342" r:id="rId17"/>
    <p:sldId id="343" r:id="rId18"/>
    <p:sldId id="344" r:id="rId19"/>
    <p:sldId id="329" r:id="rId20"/>
    <p:sldId id="280" r:id="rId21"/>
    <p:sldId id="332" r:id="rId22"/>
    <p:sldId id="333" r:id="rId23"/>
    <p:sldId id="335" r:id="rId24"/>
    <p:sldId id="336" r:id="rId25"/>
    <p:sldId id="346" r:id="rId26"/>
    <p:sldId id="340" r:id="rId27"/>
    <p:sldId id="330" r:id="rId28"/>
    <p:sldId id="339" r:id="rId29"/>
    <p:sldId id="338" r:id="rId30"/>
    <p:sldId id="341" r:id="rId31"/>
    <p:sldId id="349" r:id="rId32"/>
    <p:sldId id="279" r:id="rId33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256"/>
            <p14:sldId id="321"/>
            <p14:sldId id="322"/>
            <p14:sldId id="313"/>
            <p14:sldId id="312"/>
            <p14:sldId id="320"/>
            <p14:sldId id="345"/>
            <p14:sldId id="319"/>
            <p14:sldId id="318"/>
            <p14:sldId id="334"/>
            <p14:sldId id="324"/>
            <p14:sldId id="325"/>
            <p14:sldId id="327"/>
            <p14:sldId id="326"/>
            <p14:sldId id="328"/>
            <p14:sldId id="342"/>
            <p14:sldId id="343"/>
            <p14:sldId id="344"/>
            <p14:sldId id="329"/>
            <p14:sldId id="280"/>
            <p14:sldId id="332"/>
            <p14:sldId id="333"/>
            <p14:sldId id="335"/>
            <p14:sldId id="336"/>
            <p14:sldId id="346"/>
            <p14:sldId id="340"/>
            <p14:sldId id="330"/>
            <p14:sldId id="339"/>
            <p14:sldId id="338"/>
            <p14:sldId id="341"/>
            <p14:sldId id="349"/>
            <p14:sldId id="279"/>
          </p14:sldIdLst>
        </p14:section>
        <p14:section name="APPENDIX" id="{F9F933F0-FE4F-4617-887C-E5019FFBE992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C0BC"/>
    <a:srgbClr val="B4D020"/>
    <a:srgbClr val="F54343"/>
    <a:srgbClr val="D1E42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305" autoAdjust="0"/>
    <p:restoredTop sz="70183" autoAdjust="0"/>
  </p:normalViewPr>
  <p:slideViewPr>
    <p:cSldViewPr snapToGrid="0" snapToObjects="1">
      <p:cViewPr>
        <p:scale>
          <a:sx n="100" d="100"/>
          <a:sy n="100" d="100"/>
        </p:scale>
        <p:origin x="-272" y="-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printerSettings" Target="printerSettings/printerSettings1.bin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2.01.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2.01.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RO 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 bist du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derholungstäter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machen wir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h stelle Akteure vor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8433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Man WERBEFIRMA X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urde angeheuert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ILEY ENTSTEHT 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-Minuten Arbeit</a:t>
            </a:r>
          </a:p>
          <a:p>
            <a:r>
              <a:rPr lang="mr-I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0 -&gt; 50 million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nschlich, Abstrakt, vermittelt Emotion Deswegen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issen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ie ja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oji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!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MACHT EIN ICON AUS? X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994550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HER kam der Erfolg XII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S können gut eine Botschaft übermitteln XI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MW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77929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$45 Harveys Lohn war Ruhm XX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rchandising, Werbung, Rechtsstreit Aus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stecker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… Kaffeetassen… Reizwäsche alles…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57954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EN SOURCE XX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r Gute Harvey…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lie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 Symbol, das Milliarden Wert ist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m Nutzungsvolu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83646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RVEY und WINNIE XXIII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ist zwar nicht überliefert, aber…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lage 50.000.000 Ach Harvey Harvey, du …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96034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XTING XXVIII - 30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mals war es ein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sser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ufwand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tweg, Entdeckung</a:t>
            </a:r>
          </a:p>
          <a:p>
            <a:endParaRPr lang="de-DE" dirty="0" smtClean="0"/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ch Marie Antoinette hat ihre Nachrichten verschlüsselt. 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lyaphabetsiche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—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schlüßelungs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Algorithmu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648474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ch auf die Rolle des Handys und die hochauflösende Bildschirme eingeh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35287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YPAL XXX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kel Harvey war ein genügsamer Mensch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il ich nicht will,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ß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ine Frau mich Hornochse nennt.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9282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bekannteste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oji</a:t>
            </a:r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rnochse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chstabe / Phonem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önizier gibt es welche…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7316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RNOCHSE I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weierlei Recht Ich bin, 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eroglyphen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mbole als Buchstab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1269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RDY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ff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III</a:t>
            </a:r>
          </a:p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n sehen wir, für welche Sprachen unser liebes Tierchen seinen Kopf hinhalten muss!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IF -&gt; ALPHABET V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 wissenschaftlich anmutende Tabelle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r Buchstabe ist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mnipresent</a:t>
            </a: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habe aber seine Bedeutung verlor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7625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mr-I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3  V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n Zeiten der Phönizier…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 schreiben das Jahr…</a:t>
            </a:r>
          </a:p>
          <a:p>
            <a:r>
              <a:rPr lang="is-I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6</a:t>
            </a:r>
          </a:p>
          <a:p>
            <a:endParaRPr lang="de-DE" sz="20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6880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BEKANNTESTE V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Icon ist klein, aber die Bedeutung </a:t>
            </a:r>
            <a:r>
              <a:rPr lang="de-DE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s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27071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SURANCE VI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riebsklima hat sehr gelitten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 Telefon „lächeln“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Interne Werbekampagne“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immung machen!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918032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RF ich vorstellen? VIIII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…aus Worcester Massachusetts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unststudent, Maler, Werbegrafiker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dat im 2. Weltkrieg</a:t>
            </a:r>
          </a:p>
          <a:p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s dekorierter Kriegsveteran schied er als General in 1973 aus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9118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3" y="1065749"/>
            <a:ext cx="7585611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4501189"/>
            <a:ext cx="7585612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711712"/>
            <a:ext cx="3933594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8421" y="1711712"/>
            <a:ext cx="3933594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9144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091" y="6382323"/>
            <a:ext cx="217532" cy="217532"/>
          </a:xfrm>
          <a:prstGeom prst="rect">
            <a:avLst/>
          </a:prstGeom>
        </p:spPr>
      </p:pic>
      <p:sp>
        <p:nvSpPr>
          <p:cNvPr id="14" name="Rettangolo 6"/>
          <p:cNvSpPr/>
          <p:nvPr userDrawn="1"/>
        </p:nvSpPr>
        <p:spPr>
          <a:xfrm>
            <a:off x="0" y="0"/>
            <a:ext cx="9144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684195"/>
            <a:ext cx="5118411" cy="4049183"/>
          </a:xfrm>
        </p:spPr>
        <p:txBody>
          <a:bodyPr/>
          <a:lstStyle/>
          <a:p>
            <a:r>
              <a:rPr lang="de-DE" smtClean="0"/>
              <a:t>Bild auf Platzhalter ziehen oder durch Klicken auf Symbol hinzufügen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711712"/>
            <a:ext cx="2994538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56"/>
          <a:stretch/>
        </p:blipFill>
        <p:spPr>
          <a:xfrm>
            <a:off x="4023162" y="1683719"/>
            <a:ext cx="5131989" cy="4049710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93572" y="3286396"/>
            <a:ext cx="4616786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93572" y="2203165"/>
            <a:ext cx="4616786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877954"/>
            <a:ext cx="700344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3" y="4501189"/>
            <a:ext cx="700344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 descr="Reply SpA - LOGO_White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771" y="6319706"/>
            <a:ext cx="1044000" cy="278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3248" y="1941403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372"/>
            <a:ext cx="918051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828912"/>
            <a:ext cx="7582223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2820832"/>
            <a:ext cx="7582223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4665827"/>
            <a:ext cx="7582223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3" y="544256"/>
            <a:ext cx="7968163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3" y="1705891"/>
            <a:ext cx="7968163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573853" y="917353"/>
            <a:ext cx="7968163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644"/>
            <a:ext cx="82296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514350" indent="-514350" algn="l" defTabSz="457200" rtl="0" eaLnBrk="1" latinLnBrk="0" hangingPunct="1">
        <a:lnSpc>
          <a:spcPct val="150000"/>
        </a:lnSpc>
        <a:spcBef>
          <a:spcPts val="600"/>
        </a:spcBef>
        <a:buClr>
          <a:srgbClr val="15A33E"/>
        </a:buClr>
        <a:buSzPct val="130000"/>
        <a:buFont typeface="+mj-lt"/>
        <a:buAutoNum type="arabicPlain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4" Type="http://schemas.openxmlformats.org/officeDocument/2006/relationships/image" Target="../media/image23.jpeg"/><Relationship Id="rId5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6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4.png"/><Relationship Id="rId3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4" Type="http://schemas.openxmlformats.org/officeDocument/2006/relationships/image" Target="../media/image29.jpeg"/><Relationship Id="rId5" Type="http://schemas.openxmlformats.org/officeDocument/2006/relationships/image" Target="../media/image30.png"/><Relationship Id="rId6" Type="http://schemas.openxmlformats.org/officeDocument/2006/relationships/image" Target="../media/image31.jpeg"/><Relationship Id="rId7" Type="http://schemas.openxmlformats.org/officeDocument/2006/relationships/image" Target="../media/image32.jpe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4" Type="http://schemas.openxmlformats.org/officeDocument/2006/relationships/image" Target="../media/image35.jpeg"/><Relationship Id="rId5" Type="http://schemas.openxmlformats.org/officeDocument/2006/relationships/image" Target="../media/image36.jpe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9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4" Type="http://schemas.openxmlformats.org/officeDocument/2006/relationships/image" Target="../media/image42.jpeg"/><Relationship Id="rId5" Type="http://schemas.openxmlformats.org/officeDocument/2006/relationships/image" Target="../media/image43.jpe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4" Type="http://schemas.openxmlformats.org/officeDocument/2006/relationships/image" Target="../media/image45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openxmlformats.org/officeDocument/2006/relationships/image" Target="../media/image19.jpeg"/><Relationship Id="rId5" Type="http://schemas.openxmlformats.org/officeDocument/2006/relationships/image" Target="../media/image20.png"/><Relationship Id="rId6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3853" y="776978"/>
            <a:ext cx="7585611" cy="3216228"/>
          </a:xfrm>
        </p:spPr>
        <p:txBody>
          <a:bodyPr/>
          <a:lstStyle/>
          <a:p>
            <a:r>
              <a:rPr lang="it-IT" dirty="0" err="1" smtClean="0"/>
              <a:t>Entstehung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modernen</a:t>
            </a:r>
            <a:r>
              <a:rPr lang="it-IT" dirty="0" smtClean="0"/>
              <a:t> </a:t>
            </a:r>
            <a:r>
              <a:rPr lang="it-IT" dirty="0" err="1" smtClean="0"/>
              <a:t>ikonografie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3852" y="4565672"/>
            <a:ext cx="7585612" cy="438427"/>
          </a:xfrm>
        </p:spPr>
        <p:txBody>
          <a:bodyPr/>
          <a:lstStyle/>
          <a:p>
            <a:r>
              <a:rPr lang="it-IT" dirty="0" smtClean="0"/>
              <a:t>Dan Fitzpatrick </a:t>
            </a:r>
            <a:r>
              <a:rPr lang="it-IT" dirty="0"/>
              <a:t>| @</a:t>
            </a:r>
            <a:r>
              <a:rPr lang="it-IT" dirty="0" err="1" smtClean="0"/>
              <a:t>terafitz</a:t>
            </a:r>
            <a:endParaRPr lang="it-IT" dirty="0"/>
          </a:p>
        </p:txBody>
      </p:sp>
      <p:sp>
        <p:nvSpPr>
          <p:cNvPr id="4" name="Textfeld 3"/>
          <p:cNvSpPr txBox="1"/>
          <p:nvPr/>
        </p:nvSpPr>
        <p:spPr>
          <a:xfrm>
            <a:off x="2652575" y="4919008"/>
            <a:ext cx="20389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0" dirty="0" smtClean="0">
                <a:solidFill>
                  <a:schemeClr val="bg1"/>
                </a:solidFill>
                <a:latin typeface="Avenir Light"/>
                <a:cs typeface="Avenir Light"/>
              </a:rPr>
              <a:t>Aa</a:t>
            </a:r>
            <a:r>
              <a:rPr lang="de-DE" sz="12000" dirty="0" smtClean="0">
                <a:solidFill>
                  <a:schemeClr val="bg1"/>
                </a:solidFill>
                <a:latin typeface="Ayuthaya"/>
                <a:cs typeface="Ayuthaya"/>
              </a:rPr>
              <a:t> </a:t>
            </a:r>
            <a:endParaRPr lang="de-DE" sz="12000" dirty="0">
              <a:solidFill>
                <a:schemeClr val="bg1"/>
              </a:solidFill>
              <a:latin typeface="Ayuthaya"/>
              <a:cs typeface="Ayuthaya"/>
            </a:endParaRPr>
          </a:p>
        </p:txBody>
      </p:sp>
      <p:pic>
        <p:nvPicPr>
          <p:cNvPr id="5" name="Bild 4" descr="sav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2828" y="5153259"/>
            <a:ext cx="1562256" cy="1562256"/>
          </a:xfrm>
          <a:prstGeom prst="rect">
            <a:avLst/>
          </a:prstGeom>
        </p:spPr>
      </p:pic>
      <p:pic>
        <p:nvPicPr>
          <p:cNvPr id="7" name="Bild 6" descr="Eye_of_Horus_Right.svg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49" y="5227340"/>
            <a:ext cx="1820203" cy="140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Aus</a:t>
            </a:r>
            <a:r>
              <a:rPr lang="it-IT" dirty="0" smtClean="0"/>
              <a:t> 100 </a:t>
            </a:r>
            <a:r>
              <a:rPr lang="it-IT" dirty="0" err="1" smtClean="0"/>
              <a:t>wird</a:t>
            </a:r>
            <a:r>
              <a:rPr lang="it-IT" dirty="0" smtClean="0"/>
              <a:t> 100.000</a:t>
            </a:r>
            <a:endParaRPr lang="it-IT" sz="1600" dirty="0">
              <a:latin typeface="+mj-lt"/>
            </a:endParaRPr>
          </a:p>
        </p:txBody>
      </p:sp>
      <p:pic>
        <p:nvPicPr>
          <p:cNvPr id="8" name="Bild 7" descr="AR-301129944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68012" y="1431093"/>
            <a:ext cx="2983238" cy="3202375"/>
          </a:xfrm>
          <a:prstGeom prst="rect">
            <a:avLst/>
          </a:prstGeom>
        </p:spPr>
      </p:pic>
      <p:pic>
        <p:nvPicPr>
          <p:cNvPr id="14" name="Bild 13" descr="smiley-face-1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2780" y="3347993"/>
            <a:ext cx="1970653" cy="196393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hteck 12"/>
          <p:cNvSpPr/>
          <p:nvPr/>
        </p:nvSpPr>
        <p:spPr>
          <a:xfrm>
            <a:off x="8322246" y="6033701"/>
            <a:ext cx="8217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👍</a:t>
            </a:r>
          </a:p>
        </p:txBody>
      </p:sp>
      <p:pic>
        <p:nvPicPr>
          <p:cNvPr id="2" name="Bild 1" descr="Authentic_Worcester-made_smiley_face,_Harvey_Ball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3417" y="1512586"/>
            <a:ext cx="2998829" cy="3936925"/>
          </a:xfrm>
          <a:prstGeom prst="rect">
            <a:avLst/>
          </a:prstGeom>
        </p:spPr>
      </p:pic>
      <p:sp>
        <p:nvSpPr>
          <p:cNvPr id="7" name="Rettangolo 9"/>
          <p:cNvSpPr/>
          <p:nvPr/>
        </p:nvSpPr>
        <p:spPr>
          <a:xfrm>
            <a:off x="573853" y="6192123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0000"/>
                </a:solidFill>
              </a:rPr>
              <a:t>“I </a:t>
            </a:r>
            <a:r>
              <a:rPr lang="it-IT" dirty="0" err="1" smtClean="0">
                <a:solidFill>
                  <a:srgbClr val="000000"/>
                </a:solidFill>
              </a:rPr>
              <a:t>am</a:t>
            </a:r>
            <a:r>
              <a:rPr lang="it-IT" dirty="0" smtClean="0">
                <a:solidFill>
                  <a:srgbClr val="000000"/>
                </a:solidFill>
              </a:rPr>
              <a:t> happy.”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2452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 smtClean="0"/>
              <a:t>Woher</a:t>
            </a:r>
            <a:r>
              <a:rPr lang="it-IT" dirty="0" smtClean="0"/>
              <a:t> </a:t>
            </a:r>
            <a:r>
              <a:rPr lang="it-IT" dirty="0" err="1" smtClean="0"/>
              <a:t>kam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erfolg</a:t>
            </a:r>
            <a:r>
              <a:rPr lang="it-IT" dirty="0" smtClean="0"/>
              <a:t>?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352529" y="6070083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mr-IN" sz="4000" dirty="0" smtClean="0"/>
              <a:t>🤷</a:t>
            </a:r>
            <a:r>
              <a:rPr lang="mr-IN" dirty="0" smtClean="0"/>
              <a:t>‍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2164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573853" y="1677226"/>
            <a:ext cx="3933594" cy="4049711"/>
          </a:xfrm>
        </p:spPr>
        <p:txBody>
          <a:bodyPr/>
          <a:lstStyle/>
          <a:p>
            <a:r>
              <a:rPr lang="it-IT" sz="1800" dirty="0" err="1" smtClean="0">
                <a:solidFill>
                  <a:srgbClr val="000000"/>
                </a:solidFill>
              </a:rPr>
              <a:t>Symbole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übermitteln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vergleichsweise</a:t>
            </a:r>
            <a:r>
              <a:rPr lang="it-IT" sz="1800" dirty="0" smtClean="0">
                <a:solidFill>
                  <a:srgbClr val="000000"/>
                </a:solidFill>
              </a:rPr>
              <a:t> </a:t>
            </a:r>
            <a:r>
              <a:rPr lang="it-IT" sz="1800" dirty="0" err="1" smtClean="0">
                <a:solidFill>
                  <a:srgbClr val="000000"/>
                </a:solidFill>
              </a:rPr>
              <a:t>viel</a:t>
            </a:r>
            <a:r>
              <a:rPr lang="it-IT" sz="1800" dirty="0" smtClean="0">
                <a:solidFill>
                  <a:srgbClr val="000000"/>
                </a:solidFill>
              </a:rPr>
              <a:t> an Information</a:t>
            </a:r>
          </a:p>
          <a:p>
            <a:endParaRPr lang="it-IT" sz="1800" kern="0" dirty="0">
              <a:solidFill>
                <a:srgbClr val="000000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Der Mensch „füllt die Lücken“</a:t>
            </a:r>
            <a:endParaRPr lang="it-IT" sz="1800" dirty="0">
              <a:solidFill>
                <a:srgbClr val="000000"/>
              </a:solidFill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Sie sind größtenteils unabhängig von Sprache und Kultur</a:t>
            </a:r>
            <a:endParaRPr lang="de-DE" sz="1800" kern="0" dirty="0">
              <a:solidFill>
                <a:srgbClr val="000000"/>
              </a:solidFill>
              <a:cs typeface="Proxima Nova Regular"/>
            </a:endParaRP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Sie abstrahieren Handlungen, Gegenstände, Sätze, Emotionen!</a:t>
            </a:r>
          </a:p>
          <a:p>
            <a:pPr marL="285750" indent="-285750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de-DE" sz="1800" kern="0" dirty="0" err="1" smtClean="0">
                <a:solidFill>
                  <a:srgbClr val="000000"/>
                </a:solidFill>
                <a:cs typeface="Proxima Nova Regular"/>
              </a:rPr>
              <a:t>Emojis</a:t>
            </a:r>
            <a:r>
              <a:rPr lang="de-DE" sz="1800" kern="0" dirty="0" smtClean="0">
                <a:solidFill>
                  <a:srgbClr val="000000"/>
                </a:solidFill>
                <a:cs typeface="Proxima Nova Regular"/>
              </a:rPr>
              <a:t> sind Schriftzeichen </a:t>
            </a:r>
            <a:endParaRPr lang="de-DE" sz="1800" kern="0" dirty="0">
              <a:solidFill>
                <a:srgbClr val="000000"/>
              </a:solidFill>
              <a:cs typeface="Proxima Nova Regular"/>
            </a:endParaRPr>
          </a:p>
          <a:p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rgbClr val="000000"/>
                </a:solidFill>
              </a:rPr>
              <a:t>Icon</a:t>
            </a:r>
            <a:r>
              <a:rPr lang="it-IT" dirty="0" smtClean="0">
                <a:solidFill>
                  <a:srgbClr val="000000"/>
                </a:solidFill>
              </a:rPr>
              <a:t>, emoticon, </a:t>
            </a:r>
            <a:r>
              <a:rPr lang="it-IT" dirty="0" err="1" smtClean="0">
                <a:solidFill>
                  <a:srgbClr val="000000"/>
                </a:solidFill>
              </a:rPr>
              <a:t>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dirty="0" err="1">
                <a:latin typeface="+mj-lt"/>
              </a:rPr>
              <a:t>εἰκών</a:t>
            </a:r>
            <a:r>
              <a:rPr lang="de-DE" dirty="0">
                <a:latin typeface="+mj-lt"/>
              </a:rPr>
              <a:t> </a:t>
            </a:r>
            <a:r>
              <a:rPr lang="de-DE" dirty="0" smtClean="0">
                <a:latin typeface="+mj-lt"/>
              </a:rPr>
              <a:t> =&gt; „Bildnis“</a:t>
            </a:r>
            <a:endParaRPr lang="de-DE" dirty="0">
              <a:latin typeface="+mj-lt"/>
            </a:endParaRPr>
          </a:p>
        </p:txBody>
      </p:sp>
      <p:pic>
        <p:nvPicPr>
          <p:cNvPr id="5" name="Bild 4" descr="1024px-The_Ladder_of_Divine_Ascent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1700" y="1694303"/>
            <a:ext cx="2560316" cy="3360414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305799" y="6194981"/>
            <a:ext cx="5368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🔎</a:t>
            </a:r>
          </a:p>
        </p:txBody>
      </p:sp>
      <p:sp>
        <p:nvSpPr>
          <p:cNvPr id="12" name="Rechteck 11"/>
          <p:cNvSpPr/>
          <p:nvPr/>
        </p:nvSpPr>
        <p:spPr>
          <a:xfrm>
            <a:off x="4479666" y="3244334"/>
            <a:ext cx="2949833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0" dirty="0"/>
              <a:t>💸</a:t>
            </a:r>
          </a:p>
        </p:txBody>
      </p:sp>
    </p:spTree>
    <p:extLst>
      <p:ext uri="{BB962C8B-B14F-4D97-AF65-F5344CB8AC3E}">
        <p14:creationId xmlns:p14="http://schemas.microsoft.com/office/powerpoint/2010/main" val="3440511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3" descr="BMW-M2-Coupe_drift_seite_front_reife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02168" y="-148168"/>
            <a:ext cx="10509251" cy="7006167"/>
          </a:xfrm>
          <a:prstGeom prst="rect">
            <a:avLst/>
          </a:prstGeom>
        </p:spPr>
      </p:pic>
      <p:sp>
        <p:nvSpPr>
          <p:cNvPr id="15" name="Rechteck 6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>
                <a:solidFill>
                  <a:srgbClr val="000000"/>
                </a:solidFill>
              </a:rPr>
              <a:t>Übermittl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ein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botschaft</a:t>
            </a:r>
            <a:r>
              <a:rPr lang="it-IT" dirty="0" smtClean="0">
                <a:solidFill>
                  <a:srgbClr val="000000"/>
                </a:solidFill>
              </a:rPr>
              <a:t>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sz="1800" dirty="0" smtClean="0">
                <a:latin typeface="+mj-lt"/>
              </a:rPr>
              <a:t>Werbespruch, nein!    </a:t>
            </a:r>
            <a:r>
              <a:rPr lang="de-DE" sz="1800" dirty="0" err="1" smtClean="0">
                <a:latin typeface="+mj-lt"/>
              </a:rPr>
              <a:t>Emoji</a:t>
            </a:r>
            <a:r>
              <a:rPr lang="de-DE" sz="1800" dirty="0" smtClean="0">
                <a:latin typeface="+mj-lt"/>
              </a:rPr>
              <a:t>, ja!</a:t>
            </a:r>
            <a:endParaRPr lang="de-DE" sz="1800" dirty="0">
              <a:latin typeface="+mj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29965" y="2222500"/>
            <a:ext cx="781205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latin typeface="Arial"/>
                <a:cs typeface="Arial"/>
              </a:rPr>
              <a:t>„Freude am Fahren“</a:t>
            </a:r>
          </a:p>
        </p:txBody>
      </p:sp>
      <p:cxnSp>
        <p:nvCxnSpPr>
          <p:cNvPr id="9" name="Gerade Verbindung 8"/>
          <p:cNvCxnSpPr/>
          <p:nvPr/>
        </p:nvCxnSpPr>
        <p:spPr>
          <a:xfrm flipV="1">
            <a:off x="1828800" y="1778000"/>
            <a:ext cx="5524500" cy="217170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1092200" y="2222500"/>
            <a:ext cx="7188200" cy="125730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8427716" y="6035814"/>
            <a:ext cx="5114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🎯</a:t>
            </a:r>
          </a:p>
        </p:txBody>
      </p:sp>
      <p:sp>
        <p:nvSpPr>
          <p:cNvPr id="13" name="Rechteck 12"/>
          <p:cNvSpPr/>
          <p:nvPr/>
        </p:nvSpPr>
        <p:spPr>
          <a:xfrm>
            <a:off x="3844666" y="3752334"/>
            <a:ext cx="207353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🏎</a:t>
            </a:r>
          </a:p>
        </p:txBody>
      </p:sp>
    </p:spTree>
    <p:extLst>
      <p:ext uri="{BB962C8B-B14F-4D97-AF65-F5344CB8AC3E}">
        <p14:creationId xmlns:p14="http://schemas.microsoft.com/office/powerpoint/2010/main" val="3757820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übersetzungen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778310"/>
              </p:ext>
            </p:extLst>
          </p:nvPr>
        </p:nvGraphicFramePr>
        <p:xfrm>
          <a:off x="603249" y="1243363"/>
          <a:ext cx="8212669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5931"/>
                <a:gridCol w="3446331"/>
                <a:gridCol w="3060407"/>
              </a:tblGrid>
              <a:tr h="374449"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ICON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(aus)SPRACH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Land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Ägypten der Antik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„Speichern“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„Liebe“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:-)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„Ich grinse“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Weltweit (1982, S. </a:t>
                      </a: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Fahlman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)</a:t>
                      </a:r>
                      <a:endParaRPr kumimoji="0" lang="de-DE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:-€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„Ich bin ein Walross“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...vertipp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 10" descr="2000px-EgyptianA-01_black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1707367"/>
            <a:ext cx="760478" cy="760478"/>
          </a:xfrm>
          <a:prstGeom prst="rect">
            <a:avLst/>
          </a:prstGeom>
        </p:spPr>
      </p:pic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Bild 13" descr="sav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2719322"/>
            <a:ext cx="760478" cy="760478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676119" y="3790434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❤️</a:t>
            </a:r>
          </a:p>
        </p:txBody>
      </p:sp>
      <p:sp>
        <p:nvSpPr>
          <p:cNvPr id="7" name="Rechteck 6"/>
          <p:cNvSpPr/>
          <p:nvPr/>
        </p:nvSpPr>
        <p:spPr>
          <a:xfrm>
            <a:off x="8395501" y="6112415"/>
            <a:ext cx="5050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🗃</a:t>
            </a:r>
          </a:p>
        </p:txBody>
      </p:sp>
    </p:spTree>
    <p:extLst>
      <p:ext uri="{BB962C8B-B14F-4D97-AF65-F5344CB8AC3E}">
        <p14:creationId xmlns:p14="http://schemas.microsoft.com/office/powerpoint/2010/main" val="3086993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 smtClean="0"/>
              <a:t>bilden</a:t>
            </a:r>
            <a:r>
              <a:rPr lang="it-IT" dirty="0" smtClean="0"/>
              <a:t> </a:t>
            </a:r>
            <a:r>
              <a:rPr lang="it-IT" dirty="0" err="1" smtClean="0"/>
              <a:t>sätze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2780627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1192338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786557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8" name="Rechteck 17"/>
          <p:cNvSpPr/>
          <p:nvPr/>
        </p:nvSpPr>
        <p:spPr>
          <a:xfrm>
            <a:off x="5065589" y="2421059"/>
            <a:ext cx="1891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😱</a:t>
            </a:r>
          </a:p>
        </p:txBody>
      </p:sp>
      <p:sp>
        <p:nvSpPr>
          <p:cNvPr id="19" name="Rechteck 18"/>
          <p:cNvSpPr/>
          <p:nvPr/>
        </p:nvSpPr>
        <p:spPr>
          <a:xfrm>
            <a:off x="8384917" y="6054867"/>
            <a:ext cx="464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😆</a:t>
            </a:r>
          </a:p>
        </p:txBody>
      </p:sp>
    </p:spTree>
    <p:extLst>
      <p:ext uri="{BB962C8B-B14F-4D97-AF65-F5344CB8AC3E}">
        <p14:creationId xmlns:p14="http://schemas.microsoft.com/office/powerpoint/2010/main" val="158417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Emojis</a:t>
            </a:r>
            <a:r>
              <a:rPr lang="it-IT" dirty="0"/>
              <a:t> </a:t>
            </a:r>
            <a:r>
              <a:rPr lang="it-IT" dirty="0" err="1"/>
              <a:t>bilden</a:t>
            </a:r>
            <a:r>
              <a:rPr lang="it-IT" dirty="0"/>
              <a:t> </a:t>
            </a:r>
            <a:r>
              <a:rPr lang="it-IT" dirty="0" err="1"/>
              <a:t>sätze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3762555" y="2421059"/>
            <a:ext cx="21984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😀</a:t>
            </a:r>
          </a:p>
        </p:txBody>
      </p:sp>
      <p:sp>
        <p:nvSpPr>
          <p:cNvPr id="16" name="Rechteck 15"/>
          <p:cNvSpPr/>
          <p:nvPr/>
        </p:nvSpPr>
        <p:spPr>
          <a:xfrm>
            <a:off x="1145917" y="2421059"/>
            <a:ext cx="12882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😭</a:t>
            </a:r>
          </a:p>
        </p:txBody>
      </p:sp>
      <p:sp>
        <p:nvSpPr>
          <p:cNvPr id="17" name="Rechteck 16"/>
          <p:cNvSpPr/>
          <p:nvPr/>
        </p:nvSpPr>
        <p:spPr>
          <a:xfrm>
            <a:off x="2459520" y="2421059"/>
            <a:ext cx="17856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🤒</a:t>
            </a:r>
          </a:p>
        </p:txBody>
      </p:sp>
      <p:sp>
        <p:nvSpPr>
          <p:cNvPr id="18" name="Rechteck 17"/>
          <p:cNvSpPr/>
          <p:nvPr/>
        </p:nvSpPr>
        <p:spPr>
          <a:xfrm>
            <a:off x="5065589" y="2421059"/>
            <a:ext cx="18915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😱</a:t>
            </a:r>
          </a:p>
        </p:txBody>
      </p:sp>
      <p:sp>
        <p:nvSpPr>
          <p:cNvPr id="5" name="Rechteck 4"/>
          <p:cNvSpPr/>
          <p:nvPr/>
        </p:nvSpPr>
        <p:spPr>
          <a:xfrm>
            <a:off x="6532845" y="2421059"/>
            <a:ext cx="22724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0" dirty="0"/>
              <a:t>🍳</a:t>
            </a:r>
          </a:p>
        </p:txBody>
      </p:sp>
      <p:sp>
        <p:nvSpPr>
          <p:cNvPr id="7" name="Rechteck 6"/>
          <p:cNvSpPr/>
          <p:nvPr/>
        </p:nvSpPr>
        <p:spPr>
          <a:xfrm>
            <a:off x="8374335" y="6053610"/>
            <a:ext cx="526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😑</a:t>
            </a:r>
          </a:p>
        </p:txBody>
      </p:sp>
    </p:spTree>
    <p:extLst>
      <p:ext uri="{BB962C8B-B14F-4D97-AF65-F5344CB8AC3E}">
        <p14:creationId xmlns:p14="http://schemas.microsoft.com/office/powerpoint/2010/main" val="2611462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IMG_4038.JPG"/>
          <p:cNvPicPr>
            <a:picLocks noChangeAspect="1"/>
          </p:cNvPicPr>
          <p:nvPr/>
        </p:nvPicPr>
        <p:blipFill rotWithShape="1">
          <a:blip r:embed="rId3" cstate="screen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840" b="28525"/>
          <a:stretch/>
        </p:blipFill>
        <p:spPr>
          <a:xfrm>
            <a:off x="-88900" y="-152400"/>
            <a:ext cx="9283700" cy="70104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in</a:t>
            </a:r>
            <a:r>
              <a:rPr lang="it-IT" dirty="0" smtClean="0"/>
              <a:t> </a:t>
            </a:r>
            <a:r>
              <a:rPr lang="it-IT" dirty="0" err="1" smtClean="0"/>
              <a:t>emoji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it-IT" dirty="0" smtClean="0"/>
              <a:t> </a:t>
            </a:r>
            <a:r>
              <a:rPr lang="it-IT" dirty="0" err="1" smtClean="0"/>
              <a:t>antik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 smtClean="0"/>
              <a:t>Vom Icon zum </a:t>
            </a:r>
            <a:r>
              <a:rPr lang="de-DE" dirty="0" err="1" smtClean="0"/>
              <a:t>phonem</a:t>
            </a:r>
            <a:r>
              <a:rPr lang="de-DE" dirty="0" smtClean="0"/>
              <a:t> und zum </a:t>
            </a:r>
            <a:r>
              <a:rPr lang="de-DE" dirty="0" err="1" smtClean="0"/>
              <a:t>icon</a:t>
            </a:r>
            <a:r>
              <a:rPr lang="de-DE" dirty="0" smtClean="0"/>
              <a:t> zurück  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3255075" y="845200"/>
            <a:ext cx="230411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0000" dirty="0">
                <a:latin typeface="Avenir Light"/>
                <a:cs typeface="Avenir Light"/>
              </a:rPr>
              <a:t>A</a:t>
            </a:r>
            <a:endParaRPr lang="de-DE" sz="30000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/>
        </p:nvSpPr>
        <p:spPr>
          <a:xfrm>
            <a:off x="8359740" y="6098172"/>
            <a:ext cx="68636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🤔</a:t>
            </a:r>
          </a:p>
        </p:txBody>
      </p:sp>
    </p:spTree>
    <p:extLst>
      <p:ext uri="{BB962C8B-B14F-4D97-AF65-F5344CB8AC3E}">
        <p14:creationId xmlns:p14="http://schemas.microsoft.com/office/powerpoint/2010/main" val="3103658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$45,00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8289031" y="6094336"/>
            <a:ext cx="50508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500" dirty="0"/>
              <a:t>💵</a:t>
            </a:r>
          </a:p>
        </p:txBody>
      </p:sp>
    </p:spTree>
    <p:extLst>
      <p:ext uri="{BB962C8B-B14F-4D97-AF65-F5344CB8AC3E}">
        <p14:creationId xmlns:p14="http://schemas.microsoft.com/office/powerpoint/2010/main" val="41805889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Aus</a:t>
            </a:r>
            <a:r>
              <a:rPr lang="it-IT" dirty="0"/>
              <a:t> </a:t>
            </a:r>
            <a:r>
              <a:rPr lang="it-IT" dirty="0" smtClean="0"/>
              <a:t>$45,00 </a:t>
            </a:r>
            <a:r>
              <a:rPr lang="it-IT" dirty="0" err="1" smtClean="0"/>
              <a:t>wird</a:t>
            </a:r>
            <a:r>
              <a:rPr lang="mr-IN" dirty="0" smtClean="0"/>
              <a:t>…</a:t>
            </a:r>
            <a:r>
              <a:rPr lang="de-DE" dirty="0" smtClean="0"/>
              <a:t> </a:t>
            </a:r>
            <a:r>
              <a:rPr lang="de-DE" dirty="0" err="1" smtClean="0"/>
              <a:t>ruhm</a:t>
            </a:r>
            <a:r>
              <a:rPr lang="de-DE" dirty="0" smtClean="0"/>
              <a:t> &amp; ehr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6192123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0000"/>
                </a:solidFill>
              </a:rPr>
              <a:t>Harvey Ball </a:t>
            </a:r>
            <a:r>
              <a:rPr lang="it-IT" dirty="0" err="1" smtClean="0">
                <a:solidFill>
                  <a:srgbClr val="000000"/>
                </a:solidFill>
              </a:rPr>
              <a:t>ist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weltweit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l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Erfinder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de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miley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nerkannt</a:t>
            </a:r>
            <a:r>
              <a:rPr lang="it-IT" dirty="0" smtClean="0">
                <a:solidFill>
                  <a:srgbClr val="000000"/>
                </a:solidFill>
              </a:rPr>
              <a:t>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8" name="Bild 7" descr="HBall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376563">
            <a:off x="784506" y="1845202"/>
            <a:ext cx="1995344" cy="20041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Bild 14" descr="DLcagFyW0AEtnRu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6916" y="2233690"/>
            <a:ext cx="2942167" cy="26558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/>
          <p:cNvSpPr/>
          <p:nvPr/>
        </p:nvSpPr>
        <p:spPr>
          <a:xfrm>
            <a:off x="8352097" y="6070084"/>
            <a:ext cx="9059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🌎 </a:t>
            </a:r>
          </a:p>
        </p:txBody>
      </p:sp>
      <p:pic>
        <p:nvPicPr>
          <p:cNvPr id="16" name="Bild 15" descr="Bildschirmfoto 2017-11-10 um 14.31.12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70644">
            <a:off x="5690279" y="2509953"/>
            <a:ext cx="2734054" cy="27340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Bild 16" descr="10262324124_bbac110746_b.jpg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763148">
            <a:off x="635065" y="3621294"/>
            <a:ext cx="2350486" cy="23098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Bild 17" descr="large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12932">
            <a:off x="4349750" y="3881968"/>
            <a:ext cx="2081679" cy="20150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98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Screen+Shot+2016-02-16+at+18.50.07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174" y="0"/>
            <a:ext cx="10221686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Open sourc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err="1" smtClean="0">
                <a:solidFill>
                  <a:srgbClr val="000000"/>
                </a:solidFill>
              </a:rPr>
              <a:t>Weder</a:t>
            </a:r>
            <a:r>
              <a:rPr lang="it-IT" dirty="0" smtClean="0">
                <a:solidFill>
                  <a:srgbClr val="000000"/>
                </a:solidFill>
              </a:rPr>
              <a:t> Harvey </a:t>
            </a:r>
            <a:r>
              <a:rPr lang="it-IT" dirty="0" err="1" smtClean="0">
                <a:solidFill>
                  <a:srgbClr val="000000"/>
                </a:solidFill>
              </a:rPr>
              <a:t>noch</a:t>
            </a:r>
            <a:r>
              <a:rPr lang="it-IT" dirty="0" smtClean="0">
                <a:solidFill>
                  <a:srgbClr val="000000"/>
                </a:solidFill>
              </a:rPr>
              <a:t> State </a:t>
            </a:r>
            <a:r>
              <a:rPr lang="it-IT" dirty="0" err="1" smtClean="0">
                <a:solidFill>
                  <a:srgbClr val="000000"/>
                </a:solidFill>
              </a:rPr>
              <a:t>Mutual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haben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ich</a:t>
            </a:r>
            <a:r>
              <a:rPr lang="it-IT" dirty="0" smtClean="0">
                <a:solidFill>
                  <a:srgbClr val="000000"/>
                </a:solidFill>
              </a:rPr>
              <a:t> die </a:t>
            </a:r>
            <a:r>
              <a:rPr lang="it-IT" dirty="0" err="1" smtClean="0">
                <a:solidFill>
                  <a:srgbClr val="000000"/>
                </a:solidFill>
              </a:rPr>
              <a:t>Nutzungsrecht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gesichert</a:t>
            </a:r>
            <a:r>
              <a:rPr lang="mr-IN" dirty="0" smtClean="0">
                <a:solidFill>
                  <a:srgbClr val="000000"/>
                </a:solidFill>
              </a:rPr>
              <a:t>…</a:t>
            </a: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4" name="Bild 5" descr="runningman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/>
              <a:t>„Hey, I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eat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ak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 time</a:t>
            </a:r>
            <a:r>
              <a:rPr lang="de-DE" dirty="0" smtClean="0"/>
              <a:t>,</a:t>
            </a:r>
          </a:p>
          <a:p>
            <a:r>
              <a:rPr lang="de-DE" dirty="0" err="1" smtClean="0"/>
              <a:t>drive</a:t>
            </a:r>
            <a:r>
              <a:rPr lang="de-DE" dirty="0" smtClean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ar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 time. “</a:t>
            </a:r>
          </a:p>
        </p:txBody>
      </p:sp>
      <p:sp>
        <p:nvSpPr>
          <p:cNvPr id="3" name="Rechteck 2"/>
          <p:cNvSpPr/>
          <p:nvPr/>
        </p:nvSpPr>
        <p:spPr>
          <a:xfrm>
            <a:off x="8289664" y="6128948"/>
            <a:ext cx="939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💸 </a:t>
            </a:r>
          </a:p>
        </p:txBody>
      </p:sp>
    </p:spTree>
    <p:extLst>
      <p:ext uri="{BB962C8B-B14F-4D97-AF65-F5344CB8AC3E}">
        <p14:creationId xmlns:p14="http://schemas.microsoft.com/office/powerpoint/2010/main" val="21010066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Aunt Winnie and Uncle Harvey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49" t="2388"/>
          <a:stretch/>
        </p:blipFill>
        <p:spPr>
          <a:xfrm>
            <a:off x="3183703" y="1746249"/>
            <a:ext cx="2783417" cy="2698752"/>
          </a:xfrm>
          <a:prstGeom prst="hear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arvey und Winnie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73853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Ach Harvey..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/>
              <a:t>Winifred A</a:t>
            </a:r>
            <a:r>
              <a:rPr lang="de-DE" dirty="0" smtClean="0"/>
              <a:t>. Ball, </a:t>
            </a:r>
            <a:r>
              <a:rPr lang="de-DE" dirty="0" err="1" smtClean="0"/>
              <a:t>née</a:t>
            </a:r>
            <a:r>
              <a:rPr lang="de-DE" dirty="0" smtClean="0"/>
              <a:t> </a:t>
            </a:r>
            <a:r>
              <a:rPr lang="de-DE" dirty="0" err="1" smtClean="0"/>
              <a:t>trudell</a:t>
            </a:r>
            <a:r>
              <a:rPr lang="de-DE" dirty="0" smtClean="0"/>
              <a:t> </a:t>
            </a:r>
            <a:r>
              <a:rPr lang="de-DE" dirty="0"/>
              <a:t>(1923 - 2015) </a:t>
            </a:r>
          </a:p>
        </p:txBody>
      </p:sp>
      <p:pic>
        <p:nvPicPr>
          <p:cNvPr id="5" name="Bild 4" descr="Aunt Winnie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853" y="1665516"/>
            <a:ext cx="1712620" cy="2271183"/>
          </a:xfrm>
          <a:prstGeom prst="ellipse">
            <a:avLst/>
          </a:prstGeom>
        </p:spPr>
      </p:pic>
      <p:pic>
        <p:nvPicPr>
          <p:cNvPr id="16" name="Bild 15" descr="AR-301129944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714500"/>
            <a:ext cx="1725083" cy="2296584"/>
          </a:xfrm>
          <a:prstGeom prst="ellipse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8310832" y="6150114"/>
            <a:ext cx="833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💑</a:t>
            </a:r>
          </a:p>
        </p:txBody>
      </p:sp>
    </p:spTree>
    <p:extLst>
      <p:ext uri="{BB962C8B-B14F-4D97-AF65-F5344CB8AC3E}">
        <p14:creationId xmlns:p14="http://schemas.microsoft.com/office/powerpoint/2010/main" val="3528587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familienstamMbaum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 err="1" smtClean="0"/>
              <a:t>Too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5" name="Rechteck 24"/>
          <p:cNvSpPr/>
          <p:nvPr/>
        </p:nvSpPr>
        <p:spPr>
          <a:xfrm>
            <a:off x="8288205" y="6038334"/>
            <a:ext cx="6955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😴</a:t>
            </a:r>
          </a:p>
        </p:txBody>
      </p:sp>
      <p:pic>
        <p:nvPicPr>
          <p:cNvPr id="26" name="Bild 25" descr="Aunt Winnie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029" y="1665516"/>
            <a:ext cx="1712620" cy="2271183"/>
          </a:xfrm>
          <a:prstGeom prst="ellipse">
            <a:avLst/>
          </a:prstGeom>
        </p:spPr>
      </p:pic>
      <p:pic>
        <p:nvPicPr>
          <p:cNvPr id="27" name="Bild 26" descr="AR-30112994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619253"/>
            <a:ext cx="1725083" cy="2296584"/>
          </a:xfrm>
          <a:prstGeom prst="ellipse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6929674" y="4248085"/>
            <a:ext cx="15615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Harvey Ross Ball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5021632" y="4248085"/>
            <a:ext cx="14019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Winifred A. Ball</a:t>
            </a:r>
            <a:br>
              <a:rPr lang="de-DE" sz="1400" dirty="0" smtClean="0"/>
            </a:br>
            <a:r>
              <a:rPr lang="de-DE" sz="1400" dirty="0" err="1" smtClean="0"/>
              <a:t>n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  <a:p>
            <a:pPr algn="ctr"/>
            <a:endParaRPr lang="de-DE" sz="1400" dirty="0" smtClean="0"/>
          </a:p>
        </p:txBody>
      </p:sp>
      <p:pic>
        <p:nvPicPr>
          <p:cNvPr id="32" name="Bild 31" descr="evelyn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81892" y="1942794"/>
            <a:ext cx="2296584" cy="1742029"/>
          </a:xfrm>
          <a:prstGeom prst="ellipse">
            <a:avLst/>
          </a:prstGeom>
        </p:spPr>
      </p:pic>
      <p:pic>
        <p:nvPicPr>
          <p:cNvPr id="33" name="Bild 32" descr="rjf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15" y="1665516"/>
            <a:ext cx="1677939" cy="229658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56118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rgbClr val="FFFFFF">
              <a:alpha val="9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familienstamMbaum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0"/>
          </p:nvPr>
        </p:nvSpPr>
        <p:spPr>
          <a:xfrm>
            <a:off x="573853" y="1044349"/>
            <a:ext cx="7968163" cy="438427"/>
          </a:xfrm>
        </p:spPr>
        <p:txBody>
          <a:bodyPr/>
          <a:lstStyle/>
          <a:p>
            <a:r>
              <a:rPr lang="de-DE" dirty="0" smtClean="0"/>
              <a:t>Achtung, Spoiler....</a:t>
            </a:r>
            <a:endParaRPr lang="de-DE" dirty="0"/>
          </a:p>
        </p:txBody>
      </p:sp>
      <p:pic>
        <p:nvPicPr>
          <p:cNvPr id="5" name="Bild 4" descr="Aunt Winnie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029" y="1665516"/>
            <a:ext cx="1712620" cy="2271183"/>
          </a:xfrm>
          <a:prstGeom prst="ellipse">
            <a:avLst/>
          </a:prstGeom>
        </p:spPr>
      </p:pic>
      <p:pic>
        <p:nvPicPr>
          <p:cNvPr id="16" name="Bild 15" descr="AR-30112994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00331" y="1619253"/>
            <a:ext cx="1725083" cy="2296584"/>
          </a:xfrm>
          <a:prstGeom prst="ellipse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474085" y="4248085"/>
            <a:ext cx="1992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velyn </a:t>
            </a:r>
            <a:r>
              <a:rPr lang="de-DE" sz="1400" dirty="0" smtClean="0"/>
              <a:t>May Fitzpatrick</a:t>
            </a:r>
            <a:br>
              <a:rPr lang="de-DE" sz="1400" dirty="0" smtClean="0"/>
            </a:br>
            <a:r>
              <a:rPr lang="de-DE" sz="1400" dirty="0" err="1" smtClean="0"/>
              <a:t>n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>
          <a:xfrm>
            <a:off x="769799" y="4248085"/>
            <a:ext cx="15114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Robert Joseph</a:t>
            </a:r>
          </a:p>
          <a:p>
            <a:pPr algn="ctr"/>
            <a:r>
              <a:rPr lang="de-DE" sz="1400" dirty="0" smtClean="0"/>
              <a:t>Fitzpatrick (Opa) 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6929674" y="4248085"/>
            <a:ext cx="15615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Harvey Ross Ball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021632" y="4248085"/>
            <a:ext cx="14019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Winifred A. Ball</a:t>
            </a:r>
            <a:br>
              <a:rPr lang="de-DE" sz="1400" dirty="0" smtClean="0"/>
            </a:br>
            <a:r>
              <a:rPr lang="de-DE" sz="1400" dirty="0" err="1" smtClean="0"/>
              <a:t>née</a:t>
            </a:r>
            <a:r>
              <a:rPr lang="de-DE" sz="1400" dirty="0" smtClean="0"/>
              <a:t> </a:t>
            </a:r>
            <a:r>
              <a:rPr lang="de-DE" sz="1400" dirty="0" err="1" smtClean="0"/>
              <a:t>Trudell</a:t>
            </a:r>
            <a:endParaRPr lang="de-DE" sz="1400" dirty="0" smtClean="0"/>
          </a:p>
          <a:p>
            <a:pPr algn="ctr"/>
            <a:endParaRPr lang="de-DE" sz="1400" dirty="0" smtClean="0"/>
          </a:p>
        </p:txBody>
      </p:sp>
      <p:pic>
        <p:nvPicPr>
          <p:cNvPr id="23" name="Bild 22" descr="evelyn.jpe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81892" y="1942794"/>
            <a:ext cx="2296584" cy="1742029"/>
          </a:xfrm>
          <a:prstGeom prst="ellipse">
            <a:avLst/>
          </a:prstGeom>
        </p:spPr>
      </p:pic>
      <p:pic>
        <p:nvPicPr>
          <p:cNvPr id="24" name="Bild 23" descr="rjf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15" y="1665516"/>
            <a:ext cx="1677939" cy="2296584"/>
          </a:xfrm>
          <a:prstGeom prst="ellipse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8318024" y="6070084"/>
            <a:ext cx="70616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😬</a:t>
            </a:r>
          </a:p>
        </p:txBody>
      </p:sp>
    </p:spTree>
    <p:extLst>
      <p:ext uri="{BB962C8B-B14F-4D97-AF65-F5344CB8AC3E}">
        <p14:creationId xmlns:p14="http://schemas.microsoft.com/office/powerpoint/2010/main" val="2007341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painting-cropped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3672" y="1563076"/>
            <a:ext cx="2256692" cy="2051539"/>
          </a:xfrm>
          <a:prstGeom prst="rect">
            <a:avLst/>
          </a:prstGeom>
        </p:spPr>
      </p:pic>
      <p:pic>
        <p:nvPicPr>
          <p:cNvPr id="5" name="Bild 4" descr="harvey_wedding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8526" y="1563077"/>
            <a:ext cx="2497525" cy="2051538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4" cstate="screen">
            <a:alphaModFix amt="8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54" y="1570970"/>
            <a:ext cx="2752020" cy="2043646"/>
          </a:xfrm>
          <a:prstGeom prst="rect">
            <a:avLst/>
          </a:prstGeom>
        </p:spPr>
      </p:pic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573853" y="544256"/>
            <a:ext cx="7968163" cy="355281"/>
          </a:xfrm>
        </p:spPr>
        <p:txBody>
          <a:bodyPr/>
          <a:lstStyle/>
          <a:p>
            <a:r>
              <a:rPr lang="it-IT" dirty="0" err="1" smtClean="0"/>
              <a:t>Onkel</a:t>
            </a:r>
            <a:r>
              <a:rPr lang="it-IT" dirty="0" smtClean="0"/>
              <a:t> </a:t>
            </a:r>
            <a:r>
              <a:rPr lang="it-IT" dirty="0" err="1" smtClean="0"/>
              <a:t>harvey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71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 smtClean="0"/>
              <a:t>Sexting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4" name="Rechteck 3"/>
          <p:cNvSpPr/>
          <p:nvPr/>
        </p:nvSpPr>
        <p:spPr>
          <a:xfrm>
            <a:off x="8352529" y="6023118"/>
            <a:ext cx="6744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🔥</a:t>
            </a:r>
          </a:p>
        </p:txBody>
      </p:sp>
    </p:spTree>
    <p:extLst>
      <p:ext uri="{BB962C8B-B14F-4D97-AF65-F5344CB8AC3E}">
        <p14:creationId xmlns:p14="http://schemas.microsoft.com/office/powerpoint/2010/main" val="14147181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bs-20-25-DW-Kultur-Stralsund-jpg.jpg"/>
          <p:cNvPicPr>
            <a:picLocks noChangeAspect="1"/>
          </p:cNvPicPr>
          <p:nvPr/>
        </p:nvPicPr>
        <p:blipFill rotWithShape="1">
          <a:blip r:embed="rId3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51" t="11279" r="2818" b="20608"/>
          <a:stretch/>
        </p:blipFill>
        <p:spPr>
          <a:xfrm>
            <a:off x="-1" y="1"/>
            <a:ext cx="9272888" cy="6857999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arie und </a:t>
            </a:r>
            <a:r>
              <a:rPr lang="it-IT" dirty="0" err="1" smtClean="0"/>
              <a:t>axel</a:t>
            </a:r>
            <a:r>
              <a:rPr lang="it-IT" dirty="0" smtClean="0"/>
              <a:t> 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/>
              <a:t>Es war kein Geheimnis, dass Graf Axel von Fersen ein Favorit Marie Antoinettes war</a:t>
            </a:r>
            <a:r>
              <a:rPr lang="de-DE" dirty="0" smtClean="0"/>
              <a:t>...</a:t>
            </a:r>
            <a:endParaRPr lang="de-DE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Bild 6" descr="927c0324cdc5cf386b7dc74341e20cc0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98270" y="1936750"/>
            <a:ext cx="2055518" cy="29210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Bild 7" descr="1200px-Marie-Antoinette,_1775_-_Musée_Antoine_Lécuyer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9269" y="1936750"/>
            <a:ext cx="2132071" cy="2921000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/>
          <p:cNvSpPr/>
          <p:nvPr/>
        </p:nvSpPr>
        <p:spPr>
          <a:xfrm>
            <a:off x="8337290" y="6116135"/>
            <a:ext cx="93559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⚔️</a:t>
            </a:r>
          </a:p>
        </p:txBody>
      </p:sp>
      <p:sp>
        <p:nvSpPr>
          <p:cNvPr id="17" name="Rechteck 16"/>
          <p:cNvSpPr/>
          <p:nvPr/>
        </p:nvSpPr>
        <p:spPr>
          <a:xfrm>
            <a:off x="3707896" y="3399800"/>
            <a:ext cx="156748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0" dirty="0"/>
              <a:t>💌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80097" y="418288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⚜️</a:t>
            </a:r>
          </a:p>
        </p:txBody>
      </p:sp>
      <p:sp>
        <p:nvSpPr>
          <p:cNvPr id="21" name="Rettangolo 9"/>
          <p:cNvSpPr/>
          <p:nvPr/>
        </p:nvSpPr>
        <p:spPr>
          <a:xfrm>
            <a:off x="1155918" y="5548090"/>
            <a:ext cx="7968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https://.... Fehlanzeige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77832" y="5505758"/>
            <a:ext cx="4627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200" dirty="0"/>
              <a:t>🔒 </a:t>
            </a:r>
          </a:p>
        </p:txBody>
      </p:sp>
    </p:spTree>
    <p:extLst>
      <p:ext uri="{BB962C8B-B14F-4D97-AF65-F5344CB8AC3E}">
        <p14:creationId xmlns:p14="http://schemas.microsoft.com/office/powerpoint/2010/main" val="27773368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mojis</a:t>
            </a:r>
            <a:r>
              <a:rPr lang="it-IT" dirty="0" smtClean="0"/>
              <a:t> </a:t>
            </a:r>
            <a:r>
              <a:rPr lang="it-IT" dirty="0" err="1" smtClean="0"/>
              <a:t>als</a:t>
            </a:r>
            <a:r>
              <a:rPr lang="it-IT" dirty="0" smtClean="0"/>
              <a:t> </a:t>
            </a:r>
            <a:r>
              <a:rPr lang="it-IT" dirty="0" err="1" smtClean="0"/>
              <a:t>sprache</a:t>
            </a:r>
            <a:r>
              <a:rPr lang="it-IT" dirty="0" smtClean="0"/>
              <a:t> </a:t>
            </a:r>
            <a:r>
              <a:rPr lang="it-IT" dirty="0" err="1" smtClean="0"/>
              <a:t>der</a:t>
            </a:r>
            <a:r>
              <a:rPr lang="mr-IN" dirty="0" smtClean="0"/>
              <a:t>…</a:t>
            </a:r>
            <a:r>
              <a:rPr lang="de-DE" dirty="0" smtClean="0"/>
              <a:t>?</a:t>
            </a:r>
            <a:endParaRPr lang="it-IT" dirty="0"/>
          </a:p>
        </p:txBody>
      </p:sp>
      <p:sp>
        <p:nvSpPr>
          <p:cNvPr id="3" name="Rechteck 2"/>
          <p:cNvSpPr/>
          <p:nvPr/>
        </p:nvSpPr>
        <p:spPr>
          <a:xfrm>
            <a:off x="1328475" y="1407719"/>
            <a:ext cx="6301296" cy="6494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5000" dirty="0"/>
              <a:t>💄 💋 </a:t>
            </a:r>
            <a:r>
              <a:rPr lang="de-DE" sz="5000" dirty="0" smtClean="0"/>
              <a:t>👄  👅 </a:t>
            </a:r>
            <a:r>
              <a:rPr lang="de-DE" sz="5000" dirty="0"/>
              <a:t>🍓 🍒 🍑 </a:t>
            </a:r>
            <a:r>
              <a:rPr lang="de-DE" sz="5000" dirty="0" smtClean="0"/>
              <a:t>🍆  🛌  </a:t>
            </a:r>
            <a:r>
              <a:rPr lang="de-DE" sz="5000" dirty="0"/>
              <a:t>🎉  🏓  ⛳️  </a:t>
            </a:r>
            <a:r>
              <a:rPr lang="de-DE" sz="5000" dirty="0" smtClean="0"/>
              <a:t>🏹 💓  🥅  💗  💖 </a:t>
            </a:r>
            <a:r>
              <a:rPr lang="de-DE" sz="5000" dirty="0"/>
              <a:t>💘 </a:t>
            </a:r>
            <a:r>
              <a:rPr lang="de-DE" sz="5000" dirty="0" smtClean="0"/>
              <a:t>💝 </a:t>
            </a:r>
            <a:r>
              <a:rPr lang="de-DE" sz="5000" dirty="0"/>
              <a:t>🌶 🍭 🍬 </a:t>
            </a:r>
            <a:r>
              <a:rPr lang="de-DE" sz="5000" dirty="0" smtClean="0"/>
              <a:t> 🥂  </a:t>
            </a:r>
            <a:r>
              <a:rPr lang="de-DE" sz="5400" dirty="0" smtClean="0"/>
              <a:t>🔗 🖇</a:t>
            </a:r>
            <a:r>
              <a:rPr lang="de-DE" sz="5000" dirty="0" smtClean="0"/>
              <a:t> 🍌 </a:t>
            </a:r>
            <a:r>
              <a:rPr lang="de-DE" sz="5000" dirty="0"/>
              <a:t> 🎥</a:t>
            </a:r>
            <a:r>
              <a:rPr lang="de-DE" sz="5000" dirty="0" smtClean="0"/>
              <a:t> </a:t>
            </a:r>
            <a:r>
              <a:rPr lang="de-DE" sz="5400" dirty="0"/>
              <a:t> </a:t>
            </a:r>
            <a:r>
              <a:rPr lang="de-DE" sz="5400" dirty="0" smtClean="0"/>
              <a:t>💣  </a:t>
            </a:r>
            <a:r>
              <a:rPr lang="de-DE" sz="5000" dirty="0" smtClean="0"/>
              <a:t>🍾  🔞 </a:t>
            </a:r>
            <a:r>
              <a:rPr lang="de-DE" sz="5400" dirty="0" smtClean="0"/>
              <a:t>🛁 </a:t>
            </a:r>
            <a:endParaRPr lang="de-DE" sz="5400" dirty="0"/>
          </a:p>
          <a:p>
            <a:pPr algn="ctr"/>
            <a:endParaRPr lang="de-DE" sz="5000" dirty="0"/>
          </a:p>
          <a:p>
            <a:pPr algn="ctr"/>
            <a:endParaRPr lang="de-DE" dirty="0"/>
          </a:p>
          <a:p>
            <a:pPr algn="ctr"/>
            <a:r>
              <a:rPr lang="de-DE" dirty="0" smtClean="0"/>
              <a:t>      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1" name="Rechteck 30"/>
          <p:cNvSpPr/>
          <p:nvPr/>
        </p:nvSpPr>
        <p:spPr>
          <a:xfrm>
            <a:off x="8362462" y="6019745"/>
            <a:ext cx="5959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📱</a:t>
            </a:r>
          </a:p>
        </p:txBody>
      </p:sp>
    </p:spTree>
    <p:extLst>
      <p:ext uri="{BB962C8B-B14F-4D97-AF65-F5344CB8AC3E}">
        <p14:creationId xmlns:p14="http://schemas.microsoft.com/office/powerpoint/2010/main" val="40279434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tmp337303300560912386.jpg"/>
          <p:cNvPicPr>
            <a:picLocks noChangeAspect="1"/>
          </p:cNvPicPr>
          <p:nvPr/>
        </p:nvPicPr>
        <p:blipFill>
          <a:blip r:embed="rId3">
            <a:alphaModFix amt="5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286000"/>
            <a:ext cx="9144000" cy="9144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cht</a:t>
            </a:r>
            <a:r>
              <a:rPr lang="it-IT" dirty="0" smtClean="0"/>
              <a:t> </a:t>
            </a:r>
            <a:r>
              <a:rPr lang="it-IT" dirty="0" err="1" smtClean="0"/>
              <a:t>jetzt</a:t>
            </a:r>
            <a:r>
              <a:rPr lang="it-IT" dirty="0" smtClean="0"/>
              <a:t>!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 smtClean="0"/>
              <a:t>Vom Icon zum </a:t>
            </a:r>
            <a:r>
              <a:rPr lang="de-DE" dirty="0" err="1" smtClean="0"/>
              <a:t>phonem</a:t>
            </a:r>
            <a:endParaRPr lang="de-DE" dirty="0"/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8" descr="2000px-EgyptianA-01_black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6487" y="1665516"/>
            <a:ext cx="3657013" cy="3657013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8387300" y="6104754"/>
            <a:ext cx="6491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🐮</a:t>
            </a:r>
          </a:p>
        </p:txBody>
      </p:sp>
    </p:spTree>
    <p:extLst>
      <p:ext uri="{BB962C8B-B14F-4D97-AF65-F5344CB8AC3E}">
        <p14:creationId xmlns:p14="http://schemas.microsoft.com/office/powerpoint/2010/main" val="12138962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339552" y="6101269"/>
            <a:ext cx="6491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🙈</a:t>
            </a:r>
          </a:p>
        </p:txBody>
      </p:sp>
      <p:sp>
        <p:nvSpPr>
          <p:cNvPr id="7" name="Rechteck 6"/>
          <p:cNvSpPr/>
          <p:nvPr/>
        </p:nvSpPr>
        <p:spPr>
          <a:xfrm>
            <a:off x="3356204" y="2111103"/>
            <a:ext cx="30621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0" dirty="0"/>
              <a:t>🛏</a:t>
            </a:r>
          </a:p>
        </p:txBody>
      </p:sp>
      <p:sp>
        <p:nvSpPr>
          <p:cNvPr id="2" name="Rechteck 1"/>
          <p:cNvSpPr/>
          <p:nvPr/>
        </p:nvSpPr>
        <p:spPr>
          <a:xfrm>
            <a:off x="4173435" y="2697034"/>
            <a:ext cx="1004013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5000" dirty="0"/>
              <a:t> 💞 </a:t>
            </a:r>
          </a:p>
        </p:txBody>
      </p:sp>
    </p:spTree>
    <p:extLst>
      <p:ext uri="{BB962C8B-B14F-4D97-AF65-F5344CB8AC3E}">
        <p14:creationId xmlns:p14="http://schemas.microsoft.com/office/powerpoint/2010/main" val="31834007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harvey-ball_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41"/>
          <a:stretch/>
        </p:blipFill>
        <p:spPr>
          <a:xfrm>
            <a:off x="0" y="1676401"/>
            <a:ext cx="9144000" cy="517364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1 Smiley = 1ct.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0" name="Rechteck 6"/>
          <p:cNvSpPr/>
          <p:nvPr/>
        </p:nvSpPr>
        <p:spPr>
          <a:xfrm>
            <a:off x="0" y="5184525"/>
            <a:ext cx="9144000" cy="166551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Untertitel 5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dirty="0" err="1" smtClean="0"/>
              <a:t>Paypal.me</a:t>
            </a:r>
            <a:r>
              <a:rPr lang="de-DE" dirty="0" smtClean="0"/>
              <a:t>/</a:t>
            </a:r>
            <a:r>
              <a:rPr lang="de-DE" dirty="0" err="1" smtClean="0"/>
              <a:t>harveyanddan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8279084" y="6070083"/>
            <a:ext cx="716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🤑</a:t>
            </a:r>
          </a:p>
        </p:txBody>
      </p:sp>
      <p:pic>
        <p:nvPicPr>
          <p:cNvPr id="22" name="Bild 21" descr="Paypal-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53" y="5549900"/>
            <a:ext cx="3044579" cy="918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373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84524" y="2877954"/>
            <a:ext cx="7003440" cy="1564614"/>
          </a:xfrm>
        </p:spPr>
        <p:txBody>
          <a:bodyPr/>
          <a:lstStyle/>
          <a:p>
            <a:r>
              <a:rPr lang="it-IT" dirty="0" err="1" smtClean="0"/>
              <a:t>Dankeschön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6" name="Rechteck 5"/>
          <p:cNvSpPr/>
          <p:nvPr/>
        </p:nvSpPr>
        <p:spPr>
          <a:xfrm>
            <a:off x="7236744" y="3117946"/>
            <a:ext cx="8347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6000" dirty="0"/>
              <a:t>🍻</a:t>
            </a:r>
          </a:p>
        </p:txBody>
      </p:sp>
    </p:spTree>
    <p:extLst>
      <p:ext uri="{BB962C8B-B14F-4D97-AF65-F5344CB8AC3E}">
        <p14:creationId xmlns:p14="http://schemas.microsoft.com/office/powerpoint/2010/main" val="2698837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Nerdy</a:t>
            </a:r>
            <a:r>
              <a:rPr lang="it-IT" dirty="0" smtClean="0"/>
              <a:t> </a:t>
            </a:r>
            <a:r>
              <a:rPr lang="it-IT" dirty="0" err="1" smtClean="0"/>
              <a:t>stuff</a:t>
            </a:r>
            <a:r>
              <a:rPr lang="it-IT" dirty="0" smtClean="0"/>
              <a:t>!</a:t>
            </a:r>
            <a:endParaRPr lang="it-IT" dirty="0"/>
          </a:p>
        </p:txBody>
      </p:sp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it-IT" smtClean="0"/>
              <a:t>Optional subtitle</a:t>
            </a:r>
            <a:endParaRPr lang="it-IT" dirty="0"/>
          </a:p>
        </p:txBody>
      </p:sp>
      <p:pic>
        <p:nvPicPr>
          <p:cNvPr id="5" name="Bild 4" descr="Taurus-the-Bull-in-Egyptian-hieroglyph-leads-to-the-first-letter-in-the-alphabet-I-Writer-Mariecor-I-WriterMariecor.com-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161" y="1030648"/>
            <a:ext cx="5973925" cy="497628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72244" y="938175"/>
            <a:ext cx="6818636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758450" y="2329440"/>
            <a:ext cx="192736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758450" y="4241236"/>
            <a:ext cx="192736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91296" y="5568501"/>
            <a:ext cx="1233638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5559011" y="5787714"/>
            <a:ext cx="2123667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6148637" y="3379100"/>
            <a:ext cx="1534042" cy="7018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160930" y="4607556"/>
            <a:ext cx="1075994" cy="438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8197222" y="6104754"/>
            <a:ext cx="84014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 🤓 </a:t>
            </a:r>
          </a:p>
        </p:txBody>
      </p:sp>
    </p:spTree>
    <p:extLst>
      <p:ext uri="{BB962C8B-B14F-4D97-AF65-F5344CB8AC3E}">
        <p14:creationId xmlns:p14="http://schemas.microsoft.com/office/powerpoint/2010/main" val="20591130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Hornochsen</a:t>
            </a:r>
            <a:r>
              <a:rPr lang="it-IT" dirty="0" smtClean="0"/>
              <a:t> </a:t>
            </a:r>
            <a:r>
              <a:rPr lang="it-IT" dirty="0" err="1" smtClean="0"/>
              <a:t>überall</a:t>
            </a:r>
            <a:endParaRPr lang="it-IT" dirty="0"/>
          </a:p>
        </p:txBody>
      </p:sp>
      <p:sp>
        <p:nvSpPr>
          <p:cNvPr id="6" name="Rechteck 4"/>
          <p:cNvSpPr/>
          <p:nvPr/>
        </p:nvSpPr>
        <p:spPr>
          <a:xfrm rot="5400000">
            <a:off x="4384498" y="-3141134"/>
            <a:ext cx="375007" cy="91440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Proxima Nova Extrabld"/>
              <a:cs typeface="Proxima Nova Extrabld"/>
            </a:endParaRPr>
          </a:p>
        </p:txBody>
      </p:sp>
      <p:graphicFrame>
        <p:nvGraphicFramePr>
          <p:cNvPr id="8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8795648"/>
              </p:ext>
            </p:extLst>
          </p:nvPr>
        </p:nvGraphicFramePr>
        <p:xfrm>
          <a:off x="603249" y="1243363"/>
          <a:ext cx="7937501" cy="53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8773"/>
                <a:gridCol w="3330861"/>
                <a:gridCol w="2957867"/>
              </a:tblGrid>
              <a:tr h="374449"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emoji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(aus)SPRACHE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Proxima Nova Regular"/>
                        </a:rPr>
                        <a:t>Land</a:t>
                      </a:r>
                      <a:endParaRPr lang="de-DE" sz="1800" b="0" i="0" dirty="0">
                        <a:solidFill>
                          <a:schemeClr val="bg1"/>
                        </a:solidFill>
                        <a:latin typeface="Arial Black" panose="020B0A04020102020204" pitchFamily="34" charset="0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Elif? = Ochs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Ägypten der Antik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Alef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Phönizien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he-IL" sz="5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א</a:t>
                      </a:r>
                      <a:endParaRPr lang="de-DE" sz="5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Aleph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 = Ochse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 It"/>
                        </a:rPr>
                        <a:t>Semitischer Sprachraum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Proxima Nova Regular I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ar-sa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أ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lyf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 / Elif = Ochsen (</a:t>
                      </a: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horn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rabischer und Persischer Sprachrau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7819">
                <a:tc>
                  <a:txBody>
                    <a:bodyPr/>
                    <a:lstStyle/>
                    <a:p>
                      <a:r>
                        <a:rPr lang="de-DE" sz="4000" b="0" i="0" dirty="0" smtClean="0">
                          <a:solidFill>
                            <a:srgbClr val="000000"/>
                          </a:solidFill>
                          <a:latin typeface="+mn-lt"/>
                          <a:cs typeface="Proxima Nova Regular"/>
                        </a:rPr>
                        <a:t>A</a:t>
                      </a:r>
                      <a:endParaRPr lang="de-DE" sz="4000" b="0" i="0" dirty="0">
                        <a:solidFill>
                          <a:srgbClr val="000000"/>
                        </a:solidFill>
                        <a:latin typeface="+mn-lt"/>
                        <a:cs typeface="Proxima Nova Regular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A (</a:t>
                      </a:r>
                      <a:r>
                        <a:rPr kumimoji="0" lang="de-DE" sz="1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lpha</a:t>
                      </a: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5A33E"/>
                        </a:buClr>
                        <a:buSzPct val="13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Proxima Nova Regular"/>
                        </a:rPr>
                        <a:t>Römisch, Griechisch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Gerade Verbindung 31"/>
          <p:cNvCxnSpPr/>
          <p:nvPr/>
        </p:nvCxnSpPr>
        <p:spPr>
          <a:xfrm>
            <a:off x="-1" y="2600079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3"/>
          <p:cNvCxnSpPr/>
          <p:nvPr/>
        </p:nvCxnSpPr>
        <p:spPr>
          <a:xfrm>
            <a:off x="-1" y="3593645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 10" descr="2000px-EgyptianA-01_black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9" y="1707367"/>
            <a:ext cx="760478" cy="760478"/>
          </a:xfrm>
          <a:prstGeom prst="rect">
            <a:avLst/>
          </a:prstGeom>
        </p:spPr>
      </p:pic>
      <p:pic>
        <p:nvPicPr>
          <p:cNvPr id="4" name="Bild 3" descr="alef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249" y="2702344"/>
            <a:ext cx="760479" cy="760479"/>
          </a:xfrm>
          <a:prstGeom prst="rect">
            <a:avLst/>
          </a:prstGeom>
        </p:spPr>
      </p:pic>
      <p:cxnSp>
        <p:nvCxnSpPr>
          <p:cNvPr id="12" name="Gerade Verbindung 33"/>
          <p:cNvCxnSpPr/>
          <p:nvPr/>
        </p:nvCxnSpPr>
        <p:spPr>
          <a:xfrm>
            <a:off x="4979" y="4619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8348765" y="6112037"/>
            <a:ext cx="7467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🗺</a:t>
            </a:r>
          </a:p>
        </p:txBody>
      </p:sp>
      <p:cxnSp>
        <p:nvCxnSpPr>
          <p:cNvPr id="13" name="Gerade Verbindung 33"/>
          <p:cNvCxnSpPr/>
          <p:nvPr/>
        </p:nvCxnSpPr>
        <p:spPr>
          <a:xfrm>
            <a:off x="11969" y="5547242"/>
            <a:ext cx="9144001" cy="0"/>
          </a:xfrm>
          <a:prstGeom prst="line">
            <a:avLst/>
          </a:prstGeom>
          <a:ln w="38100" cmpd="sng">
            <a:solidFill>
              <a:schemeClr val="tx1">
                <a:alpha val="11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792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Von 63 </a:t>
            </a:r>
            <a:r>
              <a:rPr lang="it-IT" sz="3000" dirty="0">
                <a:latin typeface="Arial"/>
                <a:cs typeface="Arial"/>
              </a:rPr>
              <a:t>(v. </a:t>
            </a:r>
            <a:r>
              <a:rPr lang="it-IT" sz="3000" dirty="0" err="1">
                <a:latin typeface="Arial"/>
                <a:cs typeface="Arial"/>
              </a:rPr>
              <a:t>Chr</a:t>
            </a:r>
            <a:r>
              <a:rPr lang="it-IT" sz="3000" dirty="0">
                <a:latin typeface="Arial"/>
                <a:cs typeface="Arial"/>
              </a:rPr>
              <a:t>.)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bis 1963</a:t>
            </a:r>
            <a:endParaRPr lang="it-IT" dirty="0"/>
          </a:p>
        </p:txBody>
      </p:sp>
      <p:sp>
        <p:nvSpPr>
          <p:cNvPr id="2" name="Rechteck 1"/>
          <p:cNvSpPr/>
          <p:nvPr/>
        </p:nvSpPr>
        <p:spPr>
          <a:xfrm>
            <a:off x="8363112" y="6012535"/>
            <a:ext cx="653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🏛</a:t>
            </a:r>
          </a:p>
        </p:txBody>
      </p:sp>
    </p:spTree>
    <p:extLst>
      <p:ext uri="{BB962C8B-B14F-4D97-AF65-F5344CB8AC3E}">
        <p14:creationId xmlns:p14="http://schemas.microsoft.com/office/powerpoint/2010/main" val="19350445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DSC00977-Copy.jpg"/>
          <p:cNvPicPr>
            <a:picLocks noChangeAspect="1"/>
          </p:cNvPicPr>
          <p:nvPr/>
        </p:nvPicPr>
        <p:blipFill>
          <a:blip r:embed="rId3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Das</a:t>
            </a:r>
            <a:r>
              <a:rPr lang="it-IT" dirty="0" smtClean="0"/>
              <a:t> </a:t>
            </a:r>
            <a:r>
              <a:rPr lang="it-IT" dirty="0" err="1" smtClean="0"/>
              <a:t>bekanNtEste</a:t>
            </a:r>
            <a:r>
              <a:rPr lang="it-IT" dirty="0" smtClean="0"/>
              <a:t> 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42583" y="6091249"/>
            <a:ext cx="7180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😍</a:t>
            </a:r>
          </a:p>
        </p:txBody>
      </p:sp>
      <p:sp>
        <p:nvSpPr>
          <p:cNvPr id="18" name="Rechteck 17"/>
          <p:cNvSpPr/>
          <p:nvPr/>
        </p:nvSpPr>
        <p:spPr>
          <a:xfrm>
            <a:off x="3533170" y="2364074"/>
            <a:ext cx="227056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5000" dirty="0"/>
              <a:t>🙂</a:t>
            </a:r>
          </a:p>
        </p:txBody>
      </p:sp>
    </p:spTree>
    <p:extLst>
      <p:ext uri="{BB962C8B-B14F-4D97-AF65-F5344CB8AC3E}">
        <p14:creationId xmlns:p14="http://schemas.microsoft.com/office/powerpoint/2010/main" val="25059797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office2.jpg"/>
          <p:cNvPicPr>
            <a:picLocks noChangeAspect="1"/>
          </p:cNvPicPr>
          <p:nvPr/>
        </p:nvPicPr>
        <p:blipFill>
          <a:blip r:embed="rId3" cstate="screen">
            <a:alphaModFix amt="6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3397" y="0"/>
            <a:ext cx="10275570" cy="6858000"/>
          </a:xfrm>
          <a:prstGeom prst="rect">
            <a:avLst/>
          </a:prstGeom>
        </p:spPr>
      </p:pic>
      <p:sp>
        <p:nvSpPr>
          <p:cNvPr id="12" name="Rechteck 6"/>
          <p:cNvSpPr/>
          <p:nvPr/>
        </p:nvSpPr>
        <p:spPr>
          <a:xfrm>
            <a:off x="0" y="1"/>
            <a:ext cx="9144000" cy="1665515"/>
          </a:xfrm>
          <a:prstGeom prst="rect">
            <a:avLst/>
          </a:prstGeom>
          <a:solidFill>
            <a:schemeClr val="bg1">
              <a:alpha val="4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6"/>
          <p:cNvSpPr/>
          <p:nvPr/>
        </p:nvSpPr>
        <p:spPr>
          <a:xfrm>
            <a:off x="0" y="5172844"/>
            <a:ext cx="9144000" cy="1702972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Vom</a:t>
            </a:r>
            <a:r>
              <a:rPr lang="it-IT" dirty="0"/>
              <a:t> smiley </a:t>
            </a:r>
            <a:r>
              <a:rPr lang="it-IT" dirty="0" err="1" smtClean="0"/>
              <a:t>zuM</a:t>
            </a:r>
            <a:r>
              <a:rPr lang="it-IT" dirty="0" smtClean="0"/>
              <a:t> </a:t>
            </a:r>
            <a:r>
              <a:rPr lang="it-IT" dirty="0" err="1"/>
              <a:t>emoji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250257" y="1053083"/>
            <a:ext cx="8554832" cy="438427"/>
          </a:xfrm>
        </p:spPr>
        <p:txBody>
          <a:bodyPr/>
          <a:lstStyle/>
          <a:p>
            <a:r>
              <a:rPr lang="de-DE" dirty="0"/>
              <a:t>State Mutual Life Assurance </a:t>
            </a:r>
            <a:r>
              <a:rPr lang="de-DE" dirty="0" smtClean="0"/>
              <a:t>Company</a:t>
            </a:r>
          </a:p>
          <a:p>
            <a:r>
              <a:rPr lang="de-DE" dirty="0" smtClean="0"/>
              <a:t>kauft </a:t>
            </a:r>
            <a:r>
              <a:rPr lang="de-DE" dirty="0" err="1"/>
              <a:t>Guarantee</a:t>
            </a:r>
            <a:r>
              <a:rPr lang="de-DE" dirty="0"/>
              <a:t> Mutual </a:t>
            </a:r>
            <a:r>
              <a:rPr lang="de-DE" dirty="0" smtClean="0"/>
              <a:t>Company.</a:t>
            </a:r>
            <a:r>
              <a:rPr lang="de-DE" dirty="0"/>
              <a:t>..</a:t>
            </a:r>
          </a:p>
        </p:txBody>
      </p:sp>
      <p:pic>
        <p:nvPicPr>
          <p:cNvPr id="14" name="Bild 5" descr="runningman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7557" y="6376789"/>
            <a:ext cx="217532" cy="217532"/>
          </a:xfrm>
          <a:prstGeom prst="rect">
            <a:avLst/>
          </a:prstGeom>
        </p:spPr>
      </p:pic>
      <p:grpSp>
        <p:nvGrpSpPr>
          <p:cNvPr id="4" name="Gruppierung 3"/>
          <p:cNvGrpSpPr/>
          <p:nvPr/>
        </p:nvGrpSpPr>
        <p:grpSpPr>
          <a:xfrm>
            <a:off x="1304568" y="5120155"/>
            <a:ext cx="6962029" cy="1705251"/>
            <a:chOff x="1304568" y="3811330"/>
            <a:chExt cx="6962029" cy="1705251"/>
          </a:xfrm>
        </p:grpSpPr>
        <p:sp>
          <p:nvSpPr>
            <p:cNvPr id="11" name="Rechteck 10"/>
            <p:cNvSpPr/>
            <p:nvPr/>
          </p:nvSpPr>
          <p:spPr>
            <a:xfrm>
              <a:off x="1304568" y="3811330"/>
              <a:ext cx="1655077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🏢</a:t>
              </a: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073045" y="4263911"/>
              <a:ext cx="3249470" cy="861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5000" dirty="0" smtClean="0"/>
                <a:t>+             = </a:t>
              </a:r>
            </a:p>
          </p:txBody>
        </p:sp>
        <p:sp>
          <p:nvSpPr>
            <p:cNvPr id="16" name="Rechteck 15"/>
            <p:cNvSpPr/>
            <p:nvPr/>
          </p:nvSpPr>
          <p:spPr>
            <a:xfrm>
              <a:off x="3940346" y="3861670"/>
              <a:ext cx="1655077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🏢</a:t>
              </a: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713067" y="3885365"/>
              <a:ext cx="1553530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0" dirty="0"/>
                <a:t>😤</a:t>
              </a:r>
            </a:p>
          </p:txBody>
        </p:sp>
      </p:grpSp>
      <p:sp>
        <p:nvSpPr>
          <p:cNvPr id="5" name="Rechteck 4"/>
          <p:cNvSpPr/>
          <p:nvPr/>
        </p:nvSpPr>
        <p:spPr>
          <a:xfrm>
            <a:off x="8361844" y="6152575"/>
            <a:ext cx="716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💥</a:t>
            </a:r>
          </a:p>
        </p:txBody>
      </p:sp>
    </p:spTree>
    <p:extLst>
      <p:ext uri="{BB962C8B-B14F-4D97-AF65-F5344CB8AC3E}">
        <p14:creationId xmlns:p14="http://schemas.microsoft.com/office/powerpoint/2010/main" val="2722180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arvey </a:t>
            </a:r>
            <a:r>
              <a:rPr lang="it-IT" dirty="0" err="1" smtClean="0"/>
              <a:t>ball</a:t>
            </a:r>
            <a:r>
              <a:rPr lang="it-IT" dirty="0" smtClean="0"/>
              <a:t> </a:t>
            </a:r>
            <a:r>
              <a:rPr lang="en-US" sz="1600" dirty="0">
                <a:latin typeface="+mj-lt"/>
              </a:rPr>
              <a:t>(10. </a:t>
            </a:r>
            <a:r>
              <a:rPr lang="en-US" sz="1600" dirty="0" err="1">
                <a:latin typeface="+mj-lt"/>
              </a:rPr>
              <a:t>Juli</a:t>
            </a:r>
            <a:r>
              <a:rPr lang="en-US" sz="1600" dirty="0">
                <a:latin typeface="+mj-lt"/>
              </a:rPr>
              <a:t>, 1921 – 12 April, 2001)</a:t>
            </a:r>
            <a:endParaRPr lang="it-IT" sz="1600" dirty="0">
              <a:latin typeface="+mj-lt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8364878" y="6056708"/>
            <a:ext cx="6944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000" dirty="0"/>
              <a:t>🎨</a:t>
            </a:r>
          </a:p>
        </p:txBody>
      </p:sp>
      <p:pic>
        <p:nvPicPr>
          <p:cNvPr id="5" name="Bild 4" descr="Aunt Winnie and Uncle Harvey.jpeg"/>
          <p:cNvPicPr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605951">
            <a:off x="829162" y="1780415"/>
            <a:ext cx="2109172" cy="2097809"/>
          </a:xfrm>
          <a:prstGeom prst="rect">
            <a:avLst/>
          </a:prstGeom>
        </p:spPr>
      </p:pic>
      <p:pic>
        <p:nvPicPr>
          <p:cNvPr id="12" name="Bild 11" descr="painting-cropped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812" y="1179383"/>
            <a:ext cx="4177455" cy="5463169"/>
          </a:xfrm>
          <a:prstGeom prst="rect">
            <a:avLst/>
          </a:prstGeom>
        </p:spPr>
      </p:pic>
      <p:pic>
        <p:nvPicPr>
          <p:cNvPr id="2" name="Bild 1"/>
          <p:cNvPicPr>
            <a:picLocks noChangeAspect="1"/>
          </p:cNvPicPr>
          <p:nvPr/>
        </p:nvPicPr>
        <p:blipFill>
          <a:blip r:embed="rId5" cstate="screen">
            <a:alphaModFix amt="8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95" y="1179383"/>
            <a:ext cx="3485521" cy="2588343"/>
          </a:xfrm>
          <a:prstGeom prst="rect">
            <a:avLst/>
          </a:prstGeom>
        </p:spPr>
      </p:pic>
      <p:pic>
        <p:nvPicPr>
          <p:cNvPr id="10" name="Bild 9" descr="hball--4x6-lores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95" y="4034473"/>
            <a:ext cx="1724608" cy="2586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74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PRESENTATION WHITE 4.3">
  <a:themeElements>
    <a:clrScheme name="Custom 31">
      <a:dk1>
        <a:srgbClr val="FFFFFF"/>
      </a:dk1>
      <a:lt1>
        <a:srgbClr val="000000"/>
      </a:lt1>
      <a:dk2>
        <a:srgbClr val="053238"/>
      </a:dk2>
      <a:lt2>
        <a:srgbClr val="00B13F"/>
      </a:lt2>
      <a:accent1>
        <a:srgbClr val="71D83F"/>
      </a:accent1>
      <a:accent2>
        <a:srgbClr val="00B140"/>
      </a:accent2>
      <a:accent3>
        <a:srgbClr val="2E7CFA"/>
      </a:accent3>
      <a:accent4>
        <a:srgbClr val="940758"/>
      </a:accent4>
      <a:accent5>
        <a:srgbClr val="F54343"/>
      </a:accent5>
      <a:accent6>
        <a:srgbClr val="FFC000"/>
      </a:accent6>
      <a:hlink>
        <a:srgbClr val="10A8BC"/>
      </a:hlink>
      <a:folHlink>
        <a:srgbClr val="B4D02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PRESENTATION WHITE 4.3.potx</Template>
  <TotalTime>0</TotalTime>
  <Words>846</Words>
  <Application>Microsoft Macintosh PowerPoint</Application>
  <PresentationFormat>Bildschirmpräsentation (4:3)</PresentationFormat>
  <Paragraphs>254</Paragraphs>
  <Slides>32</Slides>
  <Notes>19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4" baseType="lpstr">
      <vt:lpstr>Reply PRESENTATION WHITE 4.3</vt:lpstr>
      <vt:lpstr>think-cell Folie</vt:lpstr>
      <vt:lpstr>Entstehung der modernen ikonografie</vt:lpstr>
      <vt:lpstr>Ein emoji der antike</vt:lpstr>
      <vt:lpstr>Echt jetzt!</vt:lpstr>
      <vt:lpstr>Nerdy stuff!</vt:lpstr>
      <vt:lpstr>Hornochsen überall</vt:lpstr>
      <vt:lpstr>Von 63 (v. Chr.) bis 1963</vt:lpstr>
      <vt:lpstr>Das bekanNtEste EMOJI</vt:lpstr>
      <vt:lpstr>Vom smiley zuM emoji</vt:lpstr>
      <vt:lpstr>Harvey ball (10. Juli, 1921 – 12 April, 2001)</vt:lpstr>
      <vt:lpstr>Aus 100 wird 100.000</vt:lpstr>
      <vt:lpstr>Woher kam der erfolg?</vt:lpstr>
      <vt:lpstr>Icon, emoticon, emoji</vt:lpstr>
      <vt:lpstr>Übermittle eine botschaft!</vt:lpstr>
      <vt:lpstr>übersetzungen</vt:lpstr>
      <vt:lpstr>Emojis bilden sätze</vt:lpstr>
      <vt:lpstr>Emojis bilden sätze</vt:lpstr>
      <vt:lpstr>Emojis bilden sätze</vt:lpstr>
      <vt:lpstr>Emojis bilden sätze</vt:lpstr>
      <vt:lpstr>Emojis bilden sätze</vt:lpstr>
      <vt:lpstr>$45,00</vt:lpstr>
      <vt:lpstr>Aus $45,00 wird… ruhm &amp; ehre</vt:lpstr>
      <vt:lpstr>Open source</vt:lpstr>
      <vt:lpstr>Harvey und Winnie</vt:lpstr>
      <vt:lpstr>familienstamMbaum</vt:lpstr>
      <vt:lpstr>familienstamMbaum</vt:lpstr>
      <vt:lpstr>Onkel harvey</vt:lpstr>
      <vt:lpstr>Sexting!</vt:lpstr>
      <vt:lpstr>Marie und axel </vt:lpstr>
      <vt:lpstr>Emojis als sprache der…?</vt:lpstr>
      <vt:lpstr>PowerPoint-Präsentation</vt:lpstr>
      <vt:lpstr>1 Smiley = 1ct.</vt:lpstr>
      <vt:lpstr>Dankeschön!</vt:lpstr>
    </vt:vector>
  </TitlesOfParts>
  <Manager/>
  <Company>Reply Sp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ly SpA PRESENTATION WHITE 4.3</dc:title>
  <dc:subject/>
  <dc:creator>REPLY</dc:creator>
  <cp:keywords/>
  <dc:description/>
  <cp:lastModifiedBy>Daniel Fitzpatrick</cp:lastModifiedBy>
  <cp:revision>435</cp:revision>
  <dcterms:created xsi:type="dcterms:W3CDTF">2017-05-03T19:08:02Z</dcterms:created>
  <dcterms:modified xsi:type="dcterms:W3CDTF">2018-01-23T07:59:50Z</dcterms:modified>
  <cp:category/>
</cp:coreProperties>
</file>